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420" r:id="rId2"/>
    <p:sldId id="256" r:id="rId3"/>
    <p:sldId id="421" r:id="rId4"/>
    <p:sldId id="422" r:id="rId5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oos van der Spek" initials="RvdS" lastIdx="2" clrIdx="0">
    <p:extLst>
      <p:ext uri="{19B8F6BF-5375-455C-9EA6-DF929625EA0E}">
        <p15:presenceInfo xmlns:p15="http://schemas.microsoft.com/office/powerpoint/2012/main" userId="S-1-5-21-823518204-507921405-682003330-2382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80" autoAdjust="0"/>
    <p:restoredTop sz="94660"/>
  </p:normalViewPr>
  <p:slideViewPr>
    <p:cSldViewPr snapToGrid="0">
      <p:cViewPr varScale="1">
        <p:scale>
          <a:sx n="120" d="100"/>
          <a:sy n="120" d="100"/>
        </p:scale>
        <p:origin x="12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3176" y="-4191"/>
            <a:ext cx="12195175" cy="6866273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6171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  <a:gd name="connsiteX0" fmla="*/ 2046 w 7858609"/>
              <a:gd name="connsiteY0" fmla="*/ 4265 h 6988290"/>
              <a:gd name="connsiteX1" fmla="*/ 7858217 w 7858609"/>
              <a:gd name="connsiteY1" fmla="*/ 0 h 6988290"/>
              <a:gd name="connsiteX2" fmla="*/ 7858609 w 7858609"/>
              <a:gd name="connsiteY2" fmla="*/ 6862265 h 6988290"/>
              <a:gd name="connsiteX3" fmla="*/ 0 w 7858609"/>
              <a:gd name="connsiteY3" fmla="*/ 6988290 h 6988290"/>
              <a:gd name="connsiteX4" fmla="*/ 2046 w 7858609"/>
              <a:gd name="connsiteY4" fmla="*/ 4265 h 6988290"/>
              <a:gd name="connsiteX0" fmla="*/ 2046 w 7858309"/>
              <a:gd name="connsiteY0" fmla="*/ 4265 h 6988290"/>
              <a:gd name="connsiteX1" fmla="*/ 7858217 w 7858309"/>
              <a:gd name="connsiteY1" fmla="*/ 0 h 6988290"/>
              <a:gd name="connsiteX2" fmla="*/ 7856563 w 7858309"/>
              <a:gd name="connsiteY2" fmla="*/ 6978597 h 6988290"/>
              <a:gd name="connsiteX3" fmla="*/ 0 w 7858309"/>
              <a:gd name="connsiteY3" fmla="*/ 6988290 h 6988290"/>
              <a:gd name="connsiteX4" fmla="*/ 2046 w 7858309"/>
              <a:gd name="connsiteY4" fmla="*/ 4265 h 6988290"/>
              <a:gd name="connsiteX0" fmla="*/ 2046 w 7858609"/>
              <a:gd name="connsiteY0" fmla="*/ 4265 h 6988290"/>
              <a:gd name="connsiteX1" fmla="*/ 7858217 w 7858609"/>
              <a:gd name="connsiteY1" fmla="*/ 0 h 6988290"/>
              <a:gd name="connsiteX2" fmla="*/ 7858609 w 7858609"/>
              <a:gd name="connsiteY2" fmla="*/ 6975365 h 6988290"/>
              <a:gd name="connsiteX3" fmla="*/ 0 w 7858609"/>
              <a:gd name="connsiteY3" fmla="*/ 6988290 h 6988290"/>
              <a:gd name="connsiteX4" fmla="*/ 2046 w 7858609"/>
              <a:gd name="connsiteY4" fmla="*/ 4265 h 69882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8609" h="6988290">
                <a:moveTo>
                  <a:pt x="2046" y="4265"/>
                </a:moveTo>
                <a:lnTo>
                  <a:pt x="7858217" y="0"/>
                </a:lnTo>
                <a:cubicBezTo>
                  <a:pt x="7858859" y="2281767"/>
                  <a:pt x="7857967" y="4693598"/>
                  <a:pt x="7858609" y="6975365"/>
                </a:cubicBezTo>
                <a:lnTo>
                  <a:pt x="0" y="6988290"/>
                </a:lnTo>
                <a:lnTo>
                  <a:pt x="2046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jouw profielfoto toe te voegen (geschikt voor de nieuwe profielfoto)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F40E9720-839B-4C92-9DF6-1680650D97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1474" y="1800225"/>
            <a:ext cx="5747386" cy="739257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0" indent="0" algn="ctr">
              <a:buNone/>
              <a:defRPr sz="54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Voornaam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563960" y="3560760"/>
            <a:ext cx="5362413" cy="1166326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0" indent="0" algn="ctr">
              <a:buNone/>
              <a:defRPr sz="24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 of iets over jezelf</a:t>
            </a:r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9" name="Tijdelijke aanduiding voor tekst 5">
            <a:extLst>
              <a:ext uri="{FF2B5EF4-FFF2-40B4-BE49-F238E27FC236}">
                <a16:creationId xmlns:a16="http://schemas.microsoft.com/office/drawing/2014/main" id="{E628780C-AE76-4259-9A77-FDC011CA55D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1474" y="2526987"/>
            <a:ext cx="5747386" cy="739257"/>
          </a:xfrm>
          <a:prstGeom prst="rect">
            <a:avLst/>
          </a:prstGeom>
          <a:noFill/>
        </p:spPr>
        <p:txBody>
          <a:bodyPr lIns="252000" tIns="252000" rIns="252000" bIns="252000"/>
          <a:lstStyle>
            <a:lvl1pPr marL="0" indent="0" algn="ctr">
              <a:buNone/>
              <a:defRPr sz="4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Achternaam</a:t>
            </a:r>
          </a:p>
        </p:txBody>
      </p:sp>
    </p:spTree>
    <p:extLst>
      <p:ext uri="{BB962C8B-B14F-4D97-AF65-F5344CB8AC3E}">
        <p14:creationId xmlns:p14="http://schemas.microsoft.com/office/powerpoint/2010/main" val="18508025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ard - bre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4191"/>
            <a:ext cx="12201769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767171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4636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  <a:gd name="connsiteX0" fmla="*/ 0 w 7862858"/>
              <a:gd name="connsiteY0" fmla="*/ 4265 h 6862265"/>
              <a:gd name="connsiteX1" fmla="*/ 7862820 w 7862858"/>
              <a:gd name="connsiteY1" fmla="*/ 0 h 6862265"/>
              <a:gd name="connsiteX2" fmla="*/ 7856563 w 7862858"/>
              <a:gd name="connsiteY2" fmla="*/ 6862265 h 6862265"/>
              <a:gd name="connsiteX3" fmla="*/ 0 w 7862858"/>
              <a:gd name="connsiteY3" fmla="*/ 6862265 h 6862265"/>
              <a:gd name="connsiteX4" fmla="*/ 0 w 7862858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62858" h="6862265">
                <a:moveTo>
                  <a:pt x="0" y="4265"/>
                </a:moveTo>
                <a:lnTo>
                  <a:pt x="7862820" y="0"/>
                </a:lnTo>
                <a:cubicBezTo>
                  <a:pt x="7863462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1603257"/>
            <a:ext cx="5726080" cy="740174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144000" rIns="252000" bIns="252000"/>
          <a:lstStyle>
            <a:lvl1pPr marL="0" indent="0" algn="ctr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Met één ondertitel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D628F3C-A8E1-470D-8F60-15308AE7D3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6920"/>
            <a:ext cx="572608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5051762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edig scherm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811"/>
            <a:ext cx="12192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1842 h 6859842"/>
              <a:gd name="connsiteX1" fmla="*/ 7856171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59842">
                <a:moveTo>
                  <a:pt x="0" y="1842"/>
                </a:moveTo>
                <a:lnTo>
                  <a:pt x="7856171" y="0"/>
                </a:lnTo>
                <a:cubicBezTo>
                  <a:pt x="7856813" y="2281767"/>
                  <a:pt x="7855921" y="4578075"/>
                  <a:pt x="7856563" y="6859842"/>
                </a:cubicBezTo>
                <a:lnTo>
                  <a:pt x="0" y="6859842"/>
                </a:lnTo>
                <a:lnTo>
                  <a:pt x="0" y="1842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&lt;Sleep dit vlak omhoog zodat je een afbeelding kan toevoegen&gt;</a:t>
            </a:r>
            <a:br>
              <a:rPr lang="nl-NL" noProof="0" dirty="0"/>
            </a:br>
            <a:br>
              <a:rPr lang="nl-NL" noProof="0" dirty="0"/>
            </a:br>
            <a:br>
              <a:rPr lang="nl-NL" noProof="0" dirty="0"/>
            </a:br>
            <a:br>
              <a:rPr lang="nl-NL" noProof="0" dirty="0"/>
            </a:br>
            <a:br>
              <a:rPr lang="nl-NL" noProof="0" dirty="0"/>
            </a:br>
            <a:br>
              <a:rPr lang="nl-NL" noProof="0" dirty="0"/>
            </a:br>
            <a:endParaRPr lang="nl-NL" noProof="0" dirty="0"/>
          </a:p>
        </p:txBody>
      </p:sp>
      <p:sp>
        <p:nvSpPr>
          <p:cNvPr id="6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112D446-975C-4979-94BC-B4788584E9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-1" y="3061116"/>
            <a:ext cx="1219200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ctr" anchorCtr="0"/>
          <a:lstStyle>
            <a:lvl1pPr algn="ctr">
              <a:defRPr sz="2400"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nl-NL" noProof="0" dirty="0"/>
              <a:t> Titel </a:t>
            </a:r>
          </a:p>
        </p:txBody>
      </p:sp>
    </p:spTree>
    <p:extLst>
      <p:ext uri="{BB962C8B-B14F-4D97-AF65-F5344CB8AC3E}">
        <p14:creationId xmlns:p14="http://schemas.microsoft.com/office/powerpoint/2010/main" val="1773705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3960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7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7 w 7856563"/>
              <a:gd name="connsiteY1" fmla="*/ 582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58000">
                <a:moveTo>
                  <a:pt x="0" y="0"/>
                </a:moveTo>
                <a:lnTo>
                  <a:pt x="7854637" y="582"/>
                </a:lnTo>
                <a:cubicBezTo>
                  <a:pt x="7855279" y="2282349"/>
                  <a:pt x="7855921" y="4576233"/>
                  <a:pt x="785656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. Kies vervolgens rechtsbovenin voor bijsnijden!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8231999" y="-2"/>
            <a:ext cx="3960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7 w 7856563"/>
              <a:gd name="connsiteY1" fmla="*/ 582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58000">
                <a:moveTo>
                  <a:pt x="0" y="0"/>
                </a:moveTo>
                <a:lnTo>
                  <a:pt x="7854637" y="582"/>
                </a:lnTo>
                <a:cubicBezTo>
                  <a:pt x="7855279" y="2282349"/>
                  <a:pt x="7855921" y="4576233"/>
                  <a:pt x="785656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. Kies vervolgens rechtsbovenin voor bijsnijden!</a:t>
            </a:r>
          </a:p>
        </p:txBody>
      </p:sp>
      <p:sp>
        <p:nvSpPr>
          <p:cNvPr id="6" name="Picture Placeholder 2"/>
          <p:cNvSpPr>
            <a:spLocks noGrp="1"/>
          </p:cNvSpPr>
          <p:nvPr>
            <p:ph type="pic" sz="quarter" idx="13" hasCustomPrompt="1"/>
          </p:nvPr>
        </p:nvSpPr>
        <p:spPr>
          <a:xfrm>
            <a:off x="4115999" y="-5781"/>
            <a:ext cx="3960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7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49913 w 7856563"/>
              <a:gd name="connsiteY1" fmla="*/ 582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5881 h 6863881"/>
              <a:gd name="connsiteX1" fmla="*/ 7849913 w 7856563"/>
              <a:gd name="connsiteY1" fmla="*/ 0 h 6863881"/>
              <a:gd name="connsiteX2" fmla="*/ 7856563 w 7856563"/>
              <a:gd name="connsiteY2" fmla="*/ 6863881 h 6863881"/>
              <a:gd name="connsiteX3" fmla="*/ 0 w 7856563"/>
              <a:gd name="connsiteY3" fmla="*/ 6863881 h 6863881"/>
              <a:gd name="connsiteX4" fmla="*/ 0 w 7856563"/>
              <a:gd name="connsiteY4" fmla="*/ 5881 h 68638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63881">
                <a:moveTo>
                  <a:pt x="0" y="5881"/>
                </a:moveTo>
                <a:lnTo>
                  <a:pt x="7849913" y="0"/>
                </a:lnTo>
                <a:cubicBezTo>
                  <a:pt x="7850555" y="2281767"/>
                  <a:pt x="7855921" y="4582114"/>
                  <a:pt x="7856563" y="6863881"/>
                </a:cubicBezTo>
                <a:lnTo>
                  <a:pt x="0" y="6863881"/>
                </a:lnTo>
                <a:lnTo>
                  <a:pt x="0" y="5881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. Kies vervolgens rechtsbovenin voor bijsnijden!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4424087" y="5547870"/>
            <a:ext cx="3343823" cy="92586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44000" tIns="72000" rIns="144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Kop 2</a:t>
            </a:r>
          </a:p>
        </p:txBody>
      </p:sp>
      <p:sp>
        <p:nvSpPr>
          <p:cNvPr id="10" name="Tijdelijke aanduiding vo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8540087" y="5547868"/>
            <a:ext cx="3343823" cy="92586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44000" tIns="72000" rIns="144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Kop 3</a:t>
            </a:r>
          </a:p>
        </p:txBody>
      </p:sp>
      <p:sp>
        <p:nvSpPr>
          <p:cNvPr id="11" name="Tijdelijke aanduiding vo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2" name="Tijdelijke aanduiding voor tekst 5">
            <a:extLst>
              <a:ext uri="{FF2B5EF4-FFF2-40B4-BE49-F238E27FC236}">
                <a16:creationId xmlns:a16="http://schemas.microsoft.com/office/drawing/2014/main" id="{4818CE33-2D36-47EB-8D49-7925426E56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08088" y="5547867"/>
            <a:ext cx="3343823" cy="92586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44000" tIns="72000" rIns="144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Kop 1</a:t>
            </a:r>
          </a:p>
        </p:txBody>
      </p:sp>
    </p:spTree>
    <p:extLst>
      <p:ext uri="{BB962C8B-B14F-4D97-AF65-F5344CB8AC3E}">
        <p14:creationId xmlns:p14="http://schemas.microsoft.com/office/powerpoint/2010/main" val="11293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lokk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-1811"/>
            <a:ext cx="6048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1842 h 6859842"/>
              <a:gd name="connsiteX1" fmla="*/ 7854637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59842">
                <a:moveTo>
                  <a:pt x="0" y="1842"/>
                </a:moveTo>
                <a:lnTo>
                  <a:pt x="7854637" y="0"/>
                </a:lnTo>
                <a:cubicBezTo>
                  <a:pt x="7855279" y="2281767"/>
                  <a:pt x="7855921" y="4578075"/>
                  <a:pt x="7856563" y="6859842"/>
                </a:cubicBezTo>
                <a:lnTo>
                  <a:pt x="0" y="6859842"/>
                </a:lnTo>
                <a:lnTo>
                  <a:pt x="0" y="1842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. Kies vervolgens rechtsbovenin voor bijsnijden!</a:t>
            </a:r>
          </a:p>
        </p:txBody>
      </p:sp>
      <p:sp>
        <p:nvSpPr>
          <p:cNvPr id="5" name="Picture Placeholder 2"/>
          <p:cNvSpPr>
            <a:spLocks noGrp="1"/>
          </p:cNvSpPr>
          <p:nvPr>
            <p:ph type="pic" sz="quarter" idx="12" hasCustomPrompt="1"/>
          </p:nvPr>
        </p:nvSpPr>
        <p:spPr>
          <a:xfrm>
            <a:off x="6143999" y="-2"/>
            <a:ext cx="6048000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7 w 7856563"/>
              <a:gd name="connsiteY1" fmla="*/ 582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58000">
                <a:moveTo>
                  <a:pt x="0" y="0"/>
                </a:moveTo>
                <a:lnTo>
                  <a:pt x="7854637" y="582"/>
                </a:lnTo>
                <a:cubicBezTo>
                  <a:pt x="7855279" y="2282349"/>
                  <a:pt x="7855921" y="4576233"/>
                  <a:pt x="785656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. Kies vervolgens rechtsbovenin voor bijsnijden!</a:t>
            </a:r>
          </a:p>
        </p:txBody>
      </p:sp>
      <p:sp>
        <p:nvSpPr>
          <p:cNvPr id="8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866398" y="5520161"/>
            <a:ext cx="4315202" cy="92586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80000" tIns="252000" rIns="180000" bIns="25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Kop 1</a:t>
            </a:r>
          </a:p>
        </p:txBody>
      </p:sp>
      <p:sp>
        <p:nvSpPr>
          <p:cNvPr id="11" name="Tijdelijke aanduiding voor tekst 5"/>
          <p:cNvSpPr>
            <a:spLocks noGrp="1"/>
          </p:cNvSpPr>
          <p:nvPr>
            <p:ph type="body" sz="quarter" idx="15" hasCustomPrompt="1"/>
          </p:nvPr>
        </p:nvSpPr>
        <p:spPr>
          <a:xfrm>
            <a:off x="7010399" y="5520161"/>
            <a:ext cx="4315202" cy="92586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80000" tIns="252000" rIns="180000" bIns="25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Kop 2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1890625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derdelen met icon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2493" y="0"/>
            <a:ext cx="12193944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6171 w 7856563"/>
              <a:gd name="connsiteY1" fmla="*/ 581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7815"/>
              <a:gd name="connsiteY0" fmla="*/ 0 h 6858000"/>
              <a:gd name="connsiteX1" fmla="*/ 7857706 w 7857815"/>
              <a:gd name="connsiteY1" fmla="*/ 581 h 6858000"/>
              <a:gd name="connsiteX2" fmla="*/ 7856563 w 7857815"/>
              <a:gd name="connsiteY2" fmla="*/ 6858000 h 6858000"/>
              <a:gd name="connsiteX3" fmla="*/ 0 w 7857815"/>
              <a:gd name="connsiteY3" fmla="*/ 6858000 h 6858000"/>
              <a:gd name="connsiteX4" fmla="*/ 0 w 7857815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7815" h="6858000">
                <a:moveTo>
                  <a:pt x="0" y="0"/>
                </a:moveTo>
                <a:lnTo>
                  <a:pt x="7857706" y="581"/>
                </a:lnTo>
                <a:cubicBezTo>
                  <a:pt x="7858348" y="2282348"/>
                  <a:pt x="7855921" y="4576233"/>
                  <a:pt x="785656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i="1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&lt;sleep dit vlak omhoog om een afbeelding toe te voegen&gt;</a:t>
            </a:r>
          </a:p>
          <a:p>
            <a:endParaRPr lang="nl-NL" noProof="0" dirty="0"/>
          </a:p>
          <a:p>
            <a:endParaRPr lang="nl-NL" noProof="0" dirty="0"/>
          </a:p>
          <a:p>
            <a:endParaRPr lang="nl-NL" noProof="0" dirty="0"/>
          </a:p>
          <a:p>
            <a:endParaRPr lang="nl-NL" noProof="0" dirty="0"/>
          </a:p>
          <a:p>
            <a:r>
              <a:rPr lang="nl-NL" noProof="0" dirty="0"/>
              <a:t>     </a:t>
            </a:r>
          </a:p>
        </p:txBody>
      </p:sp>
      <p:sp>
        <p:nvSpPr>
          <p:cNvPr id="12" name="Tijdelijke aanduiding voor tekst 5"/>
          <p:cNvSpPr>
            <a:spLocks noGrp="1"/>
          </p:cNvSpPr>
          <p:nvPr>
            <p:ph type="body" sz="quarter" idx="12" hasCustomPrompt="1"/>
          </p:nvPr>
        </p:nvSpPr>
        <p:spPr>
          <a:xfrm>
            <a:off x="864000" y="4059497"/>
            <a:ext cx="3152958" cy="739257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72000" tIns="144000" rIns="72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Onderdeel 1</a:t>
            </a:r>
          </a:p>
        </p:txBody>
      </p:sp>
      <p:sp>
        <p:nvSpPr>
          <p:cNvPr id="13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4798754"/>
            <a:ext cx="3152958" cy="1166326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 anchor="t" anchorCtr="0">
            <a:normAutofit/>
          </a:bodyPr>
          <a:lstStyle>
            <a:lvl1pPr marL="0" indent="0" algn="ctr">
              <a:buNone/>
              <a:defRPr sz="20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Ruimte voor 2 regels tekst in deze opzet</a:t>
            </a:r>
          </a:p>
        </p:txBody>
      </p:sp>
      <p:sp>
        <p:nvSpPr>
          <p:cNvPr id="15" name="Tijdelijke aanduiding voor tekst 5"/>
          <p:cNvSpPr>
            <a:spLocks noGrp="1"/>
          </p:cNvSpPr>
          <p:nvPr>
            <p:ph type="body" sz="quarter" idx="17" hasCustomPrompt="1"/>
          </p:nvPr>
        </p:nvSpPr>
        <p:spPr>
          <a:xfrm>
            <a:off x="864000" y="2707574"/>
            <a:ext cx="3152958" cy="135192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2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Voeg zelf een icoon toe. Laat dit vlak verder leeg.</a:t>
            </a:r>
          </a:p>
        </p:txBody>
      </p:sp>
      <p:sp>
        <p:nvSpPr>
          <p:cNvPr id="14" name="Tijdelijke aanduiding voor tekst 5"/>
          <p:cNvSpPr>
            <a:spLocks noGrp="1"/>
          </p:cNvSpPr>
          <p:nvPr>
            <p:ph type="body" sz="quarter" idx="26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16" name="Tijdelijke aanduiding voor tekst 5">
            <a:extLst>
              <a:ext uri="{FF2B5EF4-FFF2-40B4-BE49-F238E27FC236}">
                <a16:creationId xmlns:a16="http://schemas.microsoft.com/office/drawing/2014/main" id="{220B8906-5B79-4840-BE1C-9E0F6B4C566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518000" y="4059497"/>
            <a:ext cx="3152958" cy="739257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72000" tIns="144000" rIns="72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Onderdeel 1</a:t>
            </a:r>
          </a:p>
        </p:txBody>
      </p:sp>
      <p:sp>
        <p:nvSpPr>
          <p:cNvPr id="17" name="Tijdelijke aanduiding voor tekst 5">
            <a:extLst>
              <a:ext uri="{FF2B5EF4-FFF2-40B4-BE49-F238E27FC236}">
                <a16:creationId xmlns:a16="http://schemas.microsoft.com/office/drawing/2014/main" id="{6CC46728-54D7-4F8C-A805-9529E3616BE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518000" y="4798754"/>
            <a:ext cx="3152958" cy="1166326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 anchor="t" anchorCtr="0">
            <a:normAutofit/>
          </a:bodyPr>
          <a:lstStyle>
            <a:lvl1pPr marL="0" indent="0" algn="ctr">
              <a:buNone/>
              <a:defRPr sz="20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Ruimte voor 2 regels tekst in deze opzet</a:t>
            </a:r>
          </a:p>
        </p:txBody>
      </p:sp>
      <p:sp>
        <p:nvSpPr>
          <p:cNvPr id="18" name="Tijdelijke aanduiding voor tekst 5">
            <a:extLst>
              <a:ext uri="{FF2B5EF4-FFF2-40B4-BE49-F238E27FC236}">
                <a16:creationId xmlns:a16="http://schemas.microsoft.com/office/drawing/2014/main" id="{549F6FA9-84C5-45FB-940F-C50EABF405D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18000" y="2707574"/>
            <a:ext cx="3152958" cy="135192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2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Voeg zelf een icoon toe. Laat dit vlak verder leeg.</a:t>
            </a:r>
          </a:p>
        </p:txBody>
      </p:sp>
      <p:sp>
        <p:nvSpPr>
          <p:cNvPr id="19" name="Tijdelijke aanduiding voor tekst 5">
            <a:extLst>
              <a:ext uri="{FF2B5EF4-FFF2-40B4-BE49-F238E27FC236}">
                <a16:creationId xmlns:a16="http://schemas.microsoft.com/office/drawing/2014/main" id="{D4C64008-3449-4EBD-824C-62CBEBE2A89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72000" y="4059497"/>
            <a:ext cx="3152958" cy="739257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72000" tIns="144000" rIns="72000" bIns="72000" anchor="ctr" anchorCtr="1">
            <a:normAutofit/>
          </a:bodyPr>
          <a:lstStyle>
            <a:lvl1pPr marL="0" indent="0" algn="ctr">
              <a:buNone/>
              <a:defRPr sz="32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Onderdeel 1</a:t>
            </a:r>
          </a:p>
        </p:txBody>
      </p:sp>
      <p:sp>
        <p:nvSpPr>
          <p:cNvPr id="20" name="Tijdelijke aanduiding voor tekst 5">
            <a:extLst>
              <a:ext uri="{FF2B5EF4-FFF2-40B4-BE49-F238E27FC236}">
                <a16:creationId xmlns:a16="http://schemas.microsoft.com/office/drawing/2014/main" id="{D734260A-7E9B-407E-BBA9-709DDB046E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172000" y="4798754"/>
            <a:ext cx="3152958" cy="1166326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 anchor="t" anchorCtr="0">
            <a:normAutofit/>
          </a:bodyPr>
          <a:lstStyle>
            <a:lvl1pPr marL="0" indent="0" algn="ctr">
              <a:buNone/>
              <a:defRPr sz="20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Ruimte voor 2 regels tekst in deze opzet</a:t>
            </a:r>
          </a:p>
        </p:txBody>
      </p:sp>
      <p:sp>
        <p:nvSpPr>
          <p:cNvPr id="21" name="Tijdelijke aanduiding voor tekst 5">
            <a:extLst>
              <a:ext uri="{FF2B5EF4-FFF2-40B4-BE49-F238E27FC236}">
                <a16:creationId xmlns:a16="http://schemas.microsoft.com/office/drawing/2014/main" id="{FDADCDE6-D032-4927-8D66-AC0FE4E293E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172000" y="2707574"/>
            <a:ext cx="3152958" cy="1351923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24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Voeg zelf een icoon toe. Laat dit vlak verder leeg.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7A2C2A04-44DE-4A26-A5FE-5137DF375E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864000"/>
            <a:ext cx="4864447" cy="982144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22142330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- lee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4191"/>
            <a:ext cx="12193941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7814"/>
              <a:gd name="connsiteY0" fmla="*/ 4265 h 6862265"/>
              <a:gd name="connsiteX1" fmla="*/ 7857705 w 7857814"/>
              <a:gd name="connsiteY1" fmla="*/ 0 h 6862265"/>
              <a:gd name="connsiteX2" fmla="*/ 7856563 w 7857814"/>
              <a:gd name="connsiteY2" fmla="*/ 6862265 h 6862265"/>
              <a:gd name="connsiteX3" fmla="*/ 0 w 7857814"/>
              <a:gd name="connsiteY3" fmla="*/ 6862265 h 6862265"/>
              <a:gd name="connsiteX4" fmla="*/ 0 w 7857814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7814" h="6862265">
                <a:moveTo>
                  <a:pt x="0" y="4265"/>
                </a:moveTo>
                <a:lnTo>
                  <a:pt x="7857705" y="0"/>
                </a:lnTo>
                <a:cubicBezTo>
                  <a:pt x="7858347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5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689866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AS Blau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0C1E1D6B-FEF7-43A8-AF26-7E5B21B201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4" r="103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083AD6F-1964-4CD4-8C0B-C4757A98E8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66218"/>
            <a:ext cx="12192000" cy="132556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nl-NL" dirty="0"/>
              <a:t>Achtergrond met tekst</a:t>
            </a:r>
          </a:p>
        </p:txBody>
      </p:sp>
    </p:spTree>
    <p:extLst>
      <p:ext uri="{BB962C8B-B14F-4D97-AF65-F5344CB8AC3E}">
        <p14:creationId xmlns:p14="http://schemas.microsoft.com/office/powerpoint/2010/main" val="19858974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 + Tekst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A8DA5E05-714D-4194-9297-BFF88B95E9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766218"/>
            <a:ext cx="12192000" cy="1325563"/>
          </a:xfrm>
        </p:spPr>
        <p:txBody>
          <a:bodyPr/>
          <a:lstStyle>
            <a:lvl1pPr>
              <a:defRPr>
                <a:solidFill>
                  <a:srgbClr val="FFFFFF"/>
                </a:solidFill>
                <a:latin typeface="+mn-lt"/>
              </a:defRPr>
            </a:lvl1pPr>
          </a:lstStyle>
          <a:p>
            <a:r>
              <a:rPr lang="nl-NL" dirty="0"/>
              <a:t>Zwarte achtergrond met tekst</a:t>
            </a:r>
          </a:p>
        </p:txBody>
      </p:sp>
    </p:spTree>
    <p:extLst>
      <p:ext uri="{BB962C8B-B14F-4D97-AF65-F5344CB8AC3E}">
        <p14:creationId xmlns:p14="http://schemas.microsoft.com/office/powerpoint/2010/main" val="20924536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art+blauwe lijn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23718453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t + blauwe lij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19104811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stelsheet - 4 nam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icture Placeholder 2"/>
          <p:cNvSpPr>
            <a:spLocks noGrp="1"/>
          </p:cNvSpPr>
          <p:nvPr>
            <p:ph type="pic" sz="quarter" idx="31" hasCustomPrompt="1"/>
          </p:nvPr>
        </p:nvSpPr>
        <p:spPr>
          <a:xfrm>
            <a:off x="2957893" y="417064"/>
            <a:ext cx="2535969" cy="2535969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6171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62265">
                <a:moveTo>
                  <a:pt x="0" y="4265"/>
                </a:moveTo>
                <a:lnTo>
                  <a:pt x="7856171" y="0"/>
                </a:lnTo>
                <a:cubicBezTo>
                  <a:pt x="7856813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jouw profielfoto toe te voegen</a:t>
            </a:r>
          </a:p>
        </p:txBody>
      </p:sp>
      <p:sp>
        <p:nvSpPr>
          <p:cNvPr id="38" name="Tijdelijke aanduiding voor tekst 5"/>
          <p:cNvSpPr>
            <a:spLocks noGrp="1"/>
          </p:cNvSpPr>
          <p:nvPr>
            <p:ph type="body" sz="quarter" idx="30" hasCustomPrompt="1"/>
          </p:nvPr>
        </p:nvSpPr>
        <p:spPr>
          <a:xfrm>
            <a:off x="500735" y="1471450"/>
            <a:ext cx="3083435" cy="1049214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19" name="Rechthoek 18">
            <a:extLst>
              <a:ext uri="{FF2B5EF4-FFF2-40B4-BE49-F238E27FC236}">
                <a16:creationId xmlns:a16="http://schemas.microsoft.com/office/drawing/2014/main" id="{F10167C0-6C97-4641-A337-57875D3AAF18}"/>
              </a:ext>
            </a:extLst>
          </p:cNvPr>
          <p:cNvSpPr/>
          <p:nvPr userDrawn="1"/>
        </p:nvSpPr>
        <p:spPr>
          <a:xfrm>
            <a:off x="698546" y="2953337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37" name="Tijdelijke aanduiding voor tekst 5"/>
          <p:cNvSpPr>
            <a:spLocks noGrp="1"/>
          </p:cNvSpPr>
          <p:nvPr>
            <p:ph type="body" sz="quarter" idx="29" hasCustomPrompt="1"/>
          </p:nvPr>
        </p:nvSpPr>
        <p:spPr>
          <a:xfrm>
            <a:off x="500735" y="982506"/>
            <a:ext cx="3553680" cy="739257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48" name="Picture Placeholder 2">
            <a:extLst>
              <a:ext uri="{FF2B5EF4-FFF2-40B4-BE49-F238E27FC236}">
                <a16:creationId xmlns:a16="http://schemas.microsoft.com/office/drawing/2014/main" id="{4CDD66E8-9765-410F-B12B-29BBF707A18B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957893" y="3177099"/>
            <a:ext cx="2535969" cy="2535969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6171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62265">
                <a:moveTo>
                  <a:pt x="0" y="4265"/>
                </a:moveTo>
                <a:lnTo>
                  <a:pt x="7856171" y="0"/>
                </a:lnTo>
                <a:cubicBezTo>
                  <a:pt x="7856813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jouw profielfoto toe te voegen</a:t>
            </a:r>
          </a:p>
        </p:txBody>
      </p:sp>
      <p:sp>
        <p:nvSpPr>
          <p:cNvPr id="49" name="Tijdelijke aanduiding voor tekst 5">
            <a:extLst>
              <a:ext uri="{FF2B5EF4-FFF2-40B4-BE49-F238E27FC236}">
                <a16:creationId xmlns:a16="http://schemas.microsoft.com/office/drawing/2014/main" id="{DFADFDE0-F5F6-4FED-9864-D7205BC1543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00735" y="4242360"/>
            <a:ext cx="3083435" cy="1049214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50" name="Rechthoek 49">
            <a:extLst>
              <a:ext uri="{FF2B5EF4-FFF2-40B4-BE49-F238E27FC236}">
                <a16:creationId xmlns:a16="http://schemas.microsoft.com/office/drawing/2014/main" id="{184D51E4-2021-4682-9E44-18C8E472388E}"/>
              </a:ext>
            </a:extLst>
          </p:cNvPr>
          <p:cNvSpPr/>
          <p:nvPr userDrawn="1"/>
        </p:nvSpPr>
        <p:spPr>
          <a:xfrm>
            <a:off x="684553" y="5713068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51" name="Tijdelijke aanduiding voor tekst 5">
            <a:extLst>
              <a:ext uri="{FF2B5EF4-FFF2-40B4-BE49-F238E27FC236}">
                <a16:creationId xmlns:a16="http://schemas.microsoft.com/office/drawing/2014/main" id="{6BF56023-7C9C-427D-8CC5-13A1984775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00735" y="3753416"/>
            <a:ext cx="3553680" cy="739257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52" name="Picture Placeholder 2">
            <a:extLst>
              <a:ext uri="{FF2B5EF4-FFF2-40B4-BE49-F238E27FC236}">
                <a16:creationId xmlns:a16="http://schemas.microsoft.com/office/drawing/2014/main" id="{77023F42-A7DB-4607-9EF4-AD1355C01E3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8925685" y="401218"/>
            <a:ext cx="2535969" cy="2535969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6171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62265">
                <a:moveTo>
                  <a:pt x="0" y="4265"/>
                </a:moveTo>
                <a:lnTo>
                  <a:pt x="7856171" y="0"/>
                </a:lnTo>
                <a:cubicBezTo>
                  <a:pt x="7856813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jouw profielfoto toe te voegen</a:t>
            </a:r>
          </a:p>
        </p:txBody>
      </p:sp>
      <p:sp>
        <p:nvSpPr>
          <p:cNvPr id="53" name="Tijdelijke aanduiding voor tekst 5">
            <a:extLst>
              <a:ext uri="{FF2B5EF4-FFF2-40B4-BE49-F238E27FC236}">
                <a16:creationId xmlns:a16="http://schemas.microsoft.com/office/drawing/2014/main" id="{998C133A-E07A-4922-91A9-C12F3FB1D44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6468527" y="1471450"/>
            <a:ext cx="3083435" cy="1049214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54" name="Rechthoek 53">
            <a:extLst>
              <a:ext uri="{FF2B5EF4-FFF2-40B4-BE49-F238E27FC236}">
                <a16:creationId xmlns:a16="http://schemas.microsoft.com/office/drawing/2014/main" id="{7814DB94-E37C-4C93-9BAD-20DCE0F1358C}"/>
              </a:ext>
            </a:extLst>
          </p:cNvPr>
          <p:cNvSpPr/>
          <p:nvPr userDrawn="1"/>
        </p:nvSpPr>
        <p:spPr>
          <a:xfrm>
            <a:off x="6652345" y="2942158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55" name="Tijdelijke aanduiding voor tekst 5">
            <a:extLst>
              <a:ext uri="{FF2B5EF4-FFF2-40B4-BE49-F238E27FC236}">
                <a16:creationId xmlns:a16="http://schemas.microsoft.com/office/drawing/2014/main" id="{5ABFF5F9-4898-4AAE-B75F-301C497D79AE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468527" y="982506"/>
            <a:ext cx="3538115" cy="739257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1BF753F0-C499-4AAF-91A3-77062AE9E351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8925685" y="3177098"/>
            <a:ext cx="2535969" cy="2535969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6171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6563" h="6862265">
                <a:moveTo>
                  <a:pt x="0" y="4265"/>
                </a:moveTo>
                <a:lnTo>
                  <a:pt x="7856171" y="0"/>
                </a:lnTo>
                <a:cubicBezTo>
                  <a:pt x="7856813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jouw profielfoto toe te voegen</a:t>
            </a:r>
          </a:p>
        </p:txBody>
      </p:sp>
      <p:sp>
        <p:nvSpPr>
          <p:cNvPr id="57" name="Tijdelijke aanduiding voor tekst 5">
            <a:extLst>
              <a:ext uri="{FF2B5EF4-FFF2-40B4-BE49-F238E27FC236}">
                <a16:creationId xmlns:a16="http://schemas.microsoft.com/office/drawing/2014/main" id="{0AA3825D-0970-4CEF-8651-E7254DDDDD8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468527" y="4242360"/>
            <a:ext cx="3083435" cy="1049214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1600" b="0" baseline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Jouw functie</a:t>
            </a:r>
          </a:p>
        </p:txBody>
      </p:sp>
      <p:sp>
        <p:nvSpPr>
          <p:cNvPr id="58" name="Rechthoek 57">
            <a:extLst>
              <a:ext uri="{FF2B5EF4-FFF2-40B4-BE49-F238E27FC236}">
                <a16:creationId xmlns:a16="http://schemas.microsoft.com/office/drawing/2014/main" id="{B0010A68-76F2-4217-B024-BA599DF90E3A}"/>
              </a:ext>
            </a:extLst>
          </p:cNvPr>
          <p:cNvSpPr/>
          <p:nvPr userDrawn="1"/>
        </p:nvSpPr>
        <p:spPr>
          <a:xfrm>
            <a:off x="6652345" y="5713068"/>
            <a:ext cx="4809309" cy="36000"/>
          </a:xfrm>
          <a:prstGeom prst="rect">
            <a:avLst/>
          </a:prstGeom>
          <a:solidFill>
            <a:schemeClr val="accent5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noProof="0" dirty="0"/>
          </a:p>
        </p:txBody>
      </p:sp>
      <p:sp>
        <p:nvSpPr>
          <p:cNvPr id="59" name="Tijdelijke aanduiding voor tekst 5">
            <a:extLst>
              <a:ext uri="{FF2B5EF4-FFF2-40B4-BE49-F238E27FC236}">
                <a16:creationId xmlns:a16="http://schemas.microsoft.com/office/drawing/2014/main" id="{60557005-41D4-49C7-8495-15F45672252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468527" y="3753416"/>
            <a:ext cx="3538115" cy="739257"/>
          </a:xfrm>
          <a:prstGeom prst="rect">
            <a:avLst/>
          </a:prstGeom>
          <a:noFill/>
        </p:spPr>
        <p:txBody>
          <a:bodyPr lIns="252000" tIns="252000" rIns="252000" bIns="252000">
            <a:normAutofit/>
          </a:bodyPr>
          <a:lstStyle>
            <a:lvl1pPr marL="0" indent="0" algn="l">
              <a:buNone/>
              <a:defRPr sz="250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Naam</a:t>
            </a:r>
          </a:p>
        </p:txBody>
      </p:sp>
      <p:sp>
        <p:nvSpPr>
          <p:cNvPr id="20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</p:spTree>
    <p:extLst>
      <p:ext uri="{BB962C8B-B14F-4D97-AF65-F5344CB8AC3E}">
        <p14:creationId xmlns:p14="http://schemas.microsoft.com/office/powerpoint/2010/main" val="61744221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rt obje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64000" y="864000"/>
            <a:ext cx="4864447" cy="982144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838200" y="2073499"/>
            <a:ext cx="10515600" cy="4103464"/>
          </a:xfrm>
        </p:spPr>
        <p:txBody>
          <a:bodyPr/>
          <a:lstStyle/>
          <a:p>
            <a:pPr lvl="0"/>
            <a:r>
              <a:rPr lang="nl-NL" noProof="0"/>
              <a:t>Tekststijl van het model bewerken</a:t>
            </a:r>
          </a:p>
          <a:p>
            <a:pPr lvl="1"/>
            <a:r>
              <a:rPr lang="nl-NL" noProof="0"/>
              <a:t>Tweede niveau</a:t>
            </a:r>
          </a:p>
          <a:p>
            <a:pPr lvl="2"/>
            <a:r>
              <a:rPr lang="nl-NL" noProof="0"/>
              <a:t>Derde niveau</a:t>
            </a:r>
          </a:p>
          <a:p>
            <a:pPr lvl="3"/>
            <a:r>
              <a:rPr lang="nl-NL" noProof="0"/>
              <a:t>Vierde niveau</a:t>
            </a:r>
          </a:p>
          <a:p>
            <a:pPr lvl="4"/>
            <a:r>
              <a:rPr lang="nl-NL" noProof="0"/>
              <a:t>Vijfde niveau</a:t>
            </a:r>
            <a:endParaRPr lang="nl-NL" noProof="0" dirty="0"/>
          </a:p>
        </p:txBody>
      </p:sp>
    </p:spTree>
    <p:extLst>
      <p:ext uri="{BB962C8B-B14F-4D97-AF65-F5344CB8AC3E}">
        <p14:creationId xmlns:p14="http://schemas.microsoft.com/office/powerpoint/2010/main" val="20456537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C98279C7-5760-40CC-ACDE-FF29E9E87C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24" r="1032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7F0C0ABB-A248-439F-8BF2-90ED1ED664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5493" y="769959"/>
            <a:ext cx="6081014" cy="5318082"/>
          </a:xfrm>
          <a:prstGeom prst="rect">
            <a:avLst/>
          </a:prstGeom>
        </p:spPr>
      </p:pic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19DD8704-0CE3-43D5-B900-5C958DD8FC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65538" y="2657565"/>
            <a:ext cx="4953000" cy="298411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nl-NL" dirty="0"/>
              <a:t>Agendapunt 1</a:t>
            </a:r>
          </a:p>
          <a:p>
            <a:pPr lvl="0"/>
            <a:r>
              <a:rPr lang="nl-NL" dirty="0"/>
              <a:t>Agendapunt 2</a:t>
            </a:r>
          </a:p>
          <a:p>
            <a:pPr lvl="0"/>
            <a:r>
              <a:rPr lang="nl-NL" dirty="0"/>
              <a:t>Agendapunt 3</a:t>
            </a:r>
          </a:p>
          <a:p>
            <a:pPr lvl="0"/>
            <a:r>
              <a:rPr lang="nl-NL" dirty="0"/>
              <a:t>Agendapunt 4</a:t>
            </a:r>
          </a:p>
          <a:p>
            <a:pPr lvl="0"/>
            <a:r>
              <a:rPr lang="nl-NL" dirty="0"/>
              <a:t>Agendapunt 5</a:t>
            </a:r>
          </a:p>
          <a:p>
            <a:pPr lvl="0"/>
            <a:r>
              <a:rPr lang="nl-NL" dirty="0"/>
              <a:t>Agendapunt 6</a:t>
            </a:r>
          </a:p>
        </p:txBody>
      </p:sp>
    </p:spTree>
    <p:extLst>
      <p:ext uri="{BB962C8B-B14F-4D97-AF65-F5344CB8AC3E}">
        <p14:creationId xmlns:p14="http://schemas.microsoft.com/office/powerpoint/2010/main" val="6167124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alleen tite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5175" cy="6861511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1842 h 6859842"/>
              <a:gd name="connsiteX1" fmla="*/ 7856171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  <a:gd name="connsiteX0" fmla="*/ 0 w 7858609"/>
              <a:gd name="connsiteY0" fmla="*/ 1842 h 6982636"/>
              <a:gd name="connsiteX1" fmla="*/ 7856171 w 7858609"/>
              <a:gd name="connsiteY1" fmla="*/ 0 h 6982636"/>
              <a:gd name="connsiteX2" fmla="*/ 7858609 w 7858609"/>
              <a:gd name="connsiteY2" fmla="*/ 6982636 h 6982636"/>
              <a:gd name="connsiteX3" fmla="*/ 0 w 7858609"/>
              <a:gd name="connsiteY3" fmla="*/ 6859842 h 6982636"/>
              <a:gd name="connsiteX4" fmla="*/ 0 w 7858609"/>
              <a:gd name="connsiteY4" fmla="*/ 1842 h 6982636"/>
              <a:gd name="connsiteX0" fmla="*/ 0 w 7858609"/>
              <a:gd name="connsiteY0" fmla="*/ 1842 h 6983444"/>
              <a:gd name="connsiteX1" fmla="*/ 7856171 w 7858609"/>
              <a:gd name="connsiteY1" fmla="*/ 0 h 6983444"/>
              <a:gd name="connsiteX2" fmla="*/ 7858609 w 7858609"/>
              <a:gd name="connsiteY2" fmla="*/ 6982636 h 6983444"/>
              <a:gd name="connsiteX3" fmla="*/ 0 w 7858609"/>
              <a:gd name="connsiteY3" fmla="*/ 6983444 h 6983444"/>
              <a:gd name="connsiteX4" fmla="*/ 0 w 7858609"/>
              <a:gd name="connsiteY4" fmla="*/ 1842 h 6983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8609" h="6983444">
                <a:moveTo>
                  <a:pt x="0" y="1842"/>
                </a:moveTo>
                <a:lnTo>
                  <a:pt x="7856171" y="0"/>
                </a:lnTo>
                <a:cubicBezTo>
                  <a:pt x="7856813" y="2281767"/>
                  <a:pt x="7857967" y="4700869"/>
                  <a:pt x="7858609" y="6982636"/>
                </a:cubicBezTo>
                <a:lnTo>
                  <a:pt x="0" y="6983444"/>
                </a:lnTo>
                <a:lnTo>
                  <a:pt x="0" y="1842"/>
                </a:lnTo>
                <a:close/>
              </a:path>
            </a:pathLst>
          </a:custGeom>
          <a:solidFill>
            <a:srgbClr val="FFFFFF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rgbClr val="3A3A3A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CFC844D-671A-4433-B16C-B85F943BF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1" y="864000"/>
            <a:ext cx="3810000" cy="982800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ctr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4936690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klein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5175" cy="6861511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1842 h 6859842"/>
              <a:gd name="connsiteX1" fmla="*/ 7856171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  <a:gd name="connsiteX0" fmla="*/ 0 w 7858609"/>
              <a:gd name="connsiteY0" fmla="*/ 1842 h 6982636"/>
              <a:gd name="connsiteX1" fmla="*/ 7856171 w 7858609"/>
              <a:gd name="connsiteY1" fmla="*/ 0 h 6982636"/>
              <a:gd name="connsiteX2" fmla="*/ 7858609 w 7858609"/>
              <a:gd name="connsiteY2" fmla="*/ 6982636 h 6982636"/>
              <a:gd name="connsiteX3" fmla="*/ 0 w 7858609"/>
              <a:gd name="connsiteY3" fmla="*/ 6859842 h 6982636"/>
              <a:gd name="connsiteX4" fmla="*/ 0 w 7858609"/>
              <a:gd name="connsiteY4" fmla="*/ 1842 h 6982636"/>
              <a:gd name="connsiteX0" fmla="*/ 0 w 7858609"/>
              <a:gd name="connsiteY0" fmla="*/ 1842 h 6983444"/>
              <a:gd name="connsiteX1" fmla="*/ 7856171 w 7858609"/>
              <a:gd name="connsiteY1" fmla="*/ 0 h 6983444"/>
              <a:gd name="connsiteX2" fmla="*/ 7858609 w 7858609"/>
              <a:gd name="connsiteY2" fmla="*/ 6982636 h 6983444"/>
              <a:gd name="connsiteX3" fmla="*/ 0 w 7858609"/>
              <a:gd name="connsiteY3" fmla="*/ 6983444 h 6983444"/>
              <a:gd name="connsiteX4" fmla="*/ 0 w 7858609"/>
              <a:gd name="connsiteY4" fmla="*/ 1842 h 6983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8609" h="6983444">
                <a:moveTo>
                  <a:pt x="0" y="1842"/>
                </a:moveTo>
                <a:lnTo>
                  <a:pt x="7856171" y="0"/>
                </a:lnTo>
                <a:cubicBezTo>
                  <a:pt x="7856813" y="2281767"/>
                  <a:pt x="7857967" y="4700869"/>
                  <a:pt x="7858609" y="6982636"/>
                </a:cubicBezTo>
                <a:lnTo>
                  <a:pt x="0" y="6983444"/>
                </a:lnTo>
                <a:lnTo>
                  <a:pt x="0" y="1842"/>
                </a:lnTo>
                <a:close/>
              </a:path>
            </a:pathLst>
          </a:custGeom>
          <a:solidFill>
            <a:srgbClr val="FFFFFF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rgbClr val="3A3A3A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1603257"/>
            <a:ext cx="3810000" cy="1166326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Ruimte voor 2 regels tekst in deze opzet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CFC844D-671A-4433-B16C-B85F943BF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1" y="864000"/>
            <a:ext cx="381000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0887843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lang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14511"/>
            <a:ext cx="12195484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1842 h 6859842"/>
              <a:gd name="connsiteX1" fmla="*/ 7854636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  <a:gd name="connsiteX0" fmla="*/ 0 w 7856563"/>
              <a:gd name="connsiteY0" fmla="*/ 1842 h 6859842"/>
              <a:gd name="connsiteX1" fmla="*/ 7854636 w 7856563"/>
              <a:gd name="connsiteY1" fmla="*/ 0 h 6859842"/>
              <a:gd name="connsiteX2" fmla="*/ 7856563 w 7856563"/>
              <a:gd name="connsiteY2" fmla="*/ 6859842 h 6859842"/>
              <a:gd name="connsiteX3" fmla="*/ 0 w 7856563"/>
              <a:gd name="connsiteY3" fmla="*/ 6859842 h 6859842"/>
              <a:gd name="connsiteX4" fmla="*/ 0 w 7856563"/>
              <a:gd name="connsiteY4" fmla="*/ 1842 h 6859842"/>
              <a:gd name="connsiteX0" fmla="*/ 0 w 7858808"/>
              <a:gd name="connsiteY0" fmla="*/ 0 h 6858000"/>
              <a:gd name="connsiteX1" fmla="*/ 7858728 w 7858808"/>
              <a:gd name="connsiteY1" fmla="*/ 4621 h 6858000"/>
              <a:gd name="connsiteX2" fmla="*/ 7856563 w 7858808"/>
              <a:gd name="connsiteY2" fmla="*/ 6858000 h 6858000"/>
              <a:gd name="connsiteX3" fmla="*/ 0 w 7858808"/>
              <a:gd name="connsiteY3" fmla="*/ 6858000 h 6858000"/>
              <a:gd name="connsiteX4" fmla="*/ 0 w 7858808"/>
              <a:gd name="connsiteY4" fmla="*/ 0 h 6858000"/>
              <a:gd name="connsiteX0" fmla="*/ 0 w 7858808"/>
              <a:gd name="connsiteY0" fmla="*/ 1842 h 6859842"/>
              <a:gd name="connsiteX1" fmla="*/ 7858728 w 7858808"/>
              <a:gd name="connsiteY1" fmla="*/ 0 h 6859842"/>
              <a:gd name="connsiteX2" fmla="*/ 7856563 w 7858808"/>
              <a:gd name="connsiteY2" fmla="*/ 6859842 h 6859842"/>
              <a:gd name="connsiteX3" fmla="*/ 0 w 7858808"/>
              <a:gd name="connsiteY3" fmla="*/ 6859842 h 6859842"/>
              <a:gd name="connsiteX4" fmla="*/ 0 w 7858808"/>
              <a:gd name="connsiteY4" fmla="*/ 1842 h 6859842"/>
              <a:gd name="connsiteX0" fmla="*/ 0 w 7858808"/>
              <a:gd name="connsiteY0" fmla="*/ 14768 h 6872768"/>
              <a:gd name="connsiteX1" fmla="*/ 7858728 w 7858808"/>
              <a:gd name="connsiteY1" fmla="*/ 0 h 6872768"/>
              <a:gd name="connsiteX2" fmla="*/ 7856563 w 7858808"/>
              <a:gd name="connsiteY2" fmla="*/ 6872768 h 6872768"/>
              <a:gd name="connsiteX3" fmla="*/ 0 w 7858808"/>
              <a:gd name="connsiteY3" fmla="*/ 6872768 h 6872768"/>
              <a:gd name="connsiteX4" fmla="*/ 0 w 7858808"/>
              <a:gd name="connsiteY4" fmla="*/ 14768 h 6872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58808" h="6872768">
                <a:moveTo>
                  <a:pt x="0" y="14768"/>
                </a:moveTo>
                <a:lnTo>
                  <a:pt x="7858728" y="0"/>
                </a:lnTo>
                <a:cubicBezTo>
                  <a:pt x="7859370" y="2281767"/>
                  <a:pt x="7855921" y="4591001"/>
                  <a:pt x="7856563" y="6872768"/>
                </a:cubicBezTo>
                <a:lnTo>
                  <a:pt x="0" y="6872768"/>
                </a:lnTo>
                <a:lnTo>
                  <a:pt x="0" y="14768"/>
                </a:lnTo>
                <a:close/>
              </a:path>
            </a:pathLst>
          </a:custGeom>
          <a:solidFill>
            <a:srgbClr val="FFFFFF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rgbClr val="3A3A3A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1602000"/>
            <a:ext cx="5133261" cy="4218709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Gewone tekst is 24px Roboto Light wit – maak zelf de vlakken kloppend a.d.h.v. de ruimte die je nodig hebt!</a:t>
            </a:r>
          </a:p>
          <a:p>
            <a:pPr lvl="0"/>
            <a:endParaRPr lang="nl-NL" noProof="0" dirty="0"/>
          </a:p>
          <a:p>
            <a:pPr lvl="0"/>
            <a:r>
              <a:rPr lang="nl-NL" noProof="0" dirty="0"/>
              <a:t>Dit vlak is ook geschikt voor bullets.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9BE83833-CFFA-4D8A-8A9D-DB26CD56D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1" y="864000"/>
            <a:ext cx="513326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l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3700666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ard - bre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4191"/>
            <a:ext cx="12201769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767171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4636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  <a:gd name="connsiteX0" fmla="*/ 0 w 7862858"/>
              <a:gd name="connsiteY0" fmla="*/ 4265 h 6862265"/>
              <a:gd name="connsiteX1" fmla="*/ 7862820 w 7862858"/>
              <a:gd name="connsiteY1" fmla="*/ 0 h 6862265"/>
              <a:gd name="connsiteX2" fmla="*/ 7856563 w 7862858"/>
              <a:gd name="connsiteY2" fmla="*/ 6862265 h 6862265"/>
              <a:gd name="connsiteX3" fmla="*/ 0 w 7862858"/>
              <a:gd name="connsiteY3" fmla="*/ 6862265 h 6862265"/>
              <a:gd name="connsiteX4" fmla="*/ 0 w 7862858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62858" h="6862265">
                <a:moveTo>
                  <a:pt x="0" y="4265"/>
                </a:moveTo>
                <a:lnTo>
                  <a:pt x="7862820" y="0"/>
                </a:lnTo>
                <a:cubicBezTo>
                  <a:pt x="7863462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864000" y="5216511"/>
            <a:ext cx="5726080" cy="740174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180000" tIns="144000" rIns="180000" bIns="252000"/>
          <a:lstStyle>
            <a:lvl1pPr marL="0" indent="0" algn="ctr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Met één ondertitel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93AD15E-BC85-48B1-A108-25929E30B5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4000" y="4480174"/>
            <a:ext cx="572608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841117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ard - bre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4191"/>
            <a:ext cx="12201769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767171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4636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  <a:gd name="connsiteX0" fmla="*/ 0 w 7862858"/>
              <a:gd name="connsiteY0" fmla="*/ 4265 h 6862265"/>
              <a:gd name="connsiteX1" fmla="*/ 7862820 w 7862858"/>
              <a:gd name="connsiteY1" fmla="*/ 0 h 6862265"/>
              <a:gd name="connsiteX2" fmla="*/ 7856563 w 7862858"/>
              <a:gd name="connsiteY2" fmla="*/ 6862265 h 6862265"/>
              <a:gd name="connsiteX3" fmla="*/ 0 w 7862858"/>
              <a:gd name="connsiteY3" fmla="*/ 6862265 h 6862265"/>
              <a:gd name="connsiteX4" fmla="*/ 0 w 7862858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62858" h="6862265">
                <a:moveTo>
                  <a:pt x="0" y="4265"/>
                </a:moveTo>
                <a:lnTo>
                  <a:pt x="7862820" y="0"/>
                </a:lnTo>
                <a:cubicBezTo>
                  <a:pt x="7863462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5616000" y="5216511"/>
            <a:ext cx="5726080" cy="740174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144000" rIns="252000" bIns="252000"/>
          <a:lstStyle>
            <a:lvl1pPr marL="0" indent="0" algn="ctr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Met één ondertitel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EAF19C4-C001-4D23-8963-C3B858E58C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000" y="4480174"/>
            <a:ext cx="572608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1101102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ard - bree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2DD1B1C3-87A7-4C42-8B9B-EF88D3FB7A9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-4191"/>
            <a:ext cx="12201769" cy="6861600"/>
          </a:xfrm>
          <a:custGeom>
            <a:avLst/>
            <a:gdLst>
              <a:gd name="connsiteX0" fmla="*/ 0 w 6856438"/>
              <a:gd name="connsiteY0" fmla="*/ 0 h 6858000"/>
              <a:gd name="connsiteX1" fmla="*/ 6856438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3988547 w 6856438"/>
              <a:gd name="connsiteY1" fmla="*/ 8313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16853 w 6856438"/>
              <a:gd name="connsiteY1" fmla="*/ 0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595652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6856438"/>
              <a:gd name="connsiteY0" fmla="*/ 0 h 6858000"/>
              <a:gd name="connsiteX1" fmla="*/ 6000978 w 6856438"/>
              <a:gd name="connsiteY1" fmla="*/ 3175 h 6858000"/>
              <a:gd name="connsiteX2" fmla="*/ 6856438 w 6856438"/>
              <a:gd name="connsiteY2" fmla="*/ 6858000 h 6858000"/>
              <a:gd name="connsiteX3" fmla="*/ 0 w 6856438"/>
              <a:gd name="connsiteY3" fmla="*/ 6858000 h 6858000"/>
              <a:gd name="connsiteX4" fmla="*/ 0 w 6856438"/>
              <a:gd name="connsiteY4" fmla="*/ 0 h 6858000"/>
              <a:gd name="connsiteX0" fmla="*/ 0 w 7856563"/>
              <a:gd name="connsiteY0" fmla="*/ 0 h 6858000"/>
              <a:gd name="connsiteX1" fmla="*/ 6000978 w 7856563"/>
              <a:gd name="connsiteY1" fmla="*/ 317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12700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854636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0 h 6858000"/>
              <a:gd name="connsiteX1" fmla="*/ 7767171 w 7856563"/>
              <a:gd name="connsiteY1" fmla="*/ 3005 h 6858000"/>
              <a:gd name="connsiteX2" fmla="*/ 7856563 w 7856563"/>
              <a:gd name="connsiteY2" fmla="*/ 6858000 h 6858000"/>
              <a:gd name="connsiteX3" fmla="*/ 0 w 7856563"/>
              <a:gd name="connsiteY3" fmla="*/ 6858000 h 6858000"/>
              <a:gd name="connsiteX4" fmla="*/ 0 w 7856563"/>
              <a:gd name="connsiteY4" fmla="*/ 0 h 6858000"/>
              <a:gd name="connsiteX0" fmla="*/ 0 w 7856563"/>
              <a:gd name="connsiteY0" fmla="*/ 4265 h 6862265"/>
              <a:gd name="connsiteX1" fmla="*/ 7854636 w 7856563"/>
              <a:gd name="connsiteY1" fmla="*/ 0 h 6862265"/>
              <a:gd name="connsiteX2" fmla="*/ 7856563 w 7856563"/>
              <a:gd name="connsiteY2" fmla="*/ 6862265 h 6862265"/>
              <a:gd name="connsiteX3" fmla="*/ 0 w 7856563"/>
              <a:gd name="connsiteY3" fmla="*/ 6862265 h 6862265"/>
              <a:gd name="connsiteX4" fmla="*/ 0 w 7856563"/>
              <a:gd name="connsiteY4" fmla="*/ 4265 h 6862265"/>
              <a:gd name="connsiteX0" fmla="*/ 0 w 7862858"/>
              <a:gd name="connsiteY0" fmla="*/ 4265 h 6862265"/>
              <a:gd name="connsiteX1" fmla="*/ 7862820 w 7862858"/>
              <a:gd name="connsiteY1" fmla="*/ 0 h 6862265"/>
              <a:gd name="connsiteX2" fmla="*/ 7856563 w 7862858"/>
              <a:gd name="connsiteY2" fmla="*/ 6862265 h 6862265"/>
              <a:gd name="connsiteX3" fmla="*/ 0 w 7862858"/>
              <a:gd name="connsiteY3" fmla="*/ 6862265 h 6862265"/>
              <a:gd name="connsiteX4" fmla="*/ 0 w 7862858"/>
              <a:gd name="connsiteY4" fmla="*/ 4265 h 68622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62858" h="6862265">
                <a:moveTo>
                  <a:pt x="0" y="4265"/>
                </a:moveTo>
                <a:lnTo>
                  <a:pt x="7862820" y="0"/>
                </a:lnTo>
                <a:cubicBezTo>
                  <a:pt x="7863462" y="2281767"/>
                  <a:pt x="7855921" y="4580498"/>
                  <a:pt x="7856563" y="6862265"/>
                </a:cubicBezTo>
                <a:lnTo>
                  <a:pt x="0" y="6862265"/>
                </a:lnTo>
                <a:lnTo>
                  <a:pt x="0" y="4265"/>
                </a:lnTo>
                <a:close/>
              </a:path>
            </a:pathLst>
          </a:cu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800" b="0" baseline="0">
                <a:solidFill>
                  <a:schemeClr val="tx1"/>
                </a:solidFill>
              </a:defRPr>
            </a:lvl1pPr>
          </a:lstStyle>
          <a:p>
            <a:r>
              <a:rPr lang="nl-NL" noProof="0" dirty="0"/>
              <a:t>Klik op dit vlak om een afbeelding toe te voegen</a:t>
            </a:r>
          </a:p>
        </p:txBody>
      </p:sp>
      <p:sp>
        <p:nvSpPr>
          <p:cNvPr id="7" name="Tijdelijke aanduiding voor tekst 5"/>
          <p:cNvSpPr>
            <a:spLocks noGrp="1"/>
          </p:cNvSpPr>
          <p:nvPr>
            <p:ph type="body" sz="quarter" idx="13" hasCustomPrompt="1"/>
          </p:nvPr>
        </p:nvSpPr>
        <p:spPr>
          <a:xfrm>
            <a:off x="5616000" y="1558911"/>
            <a:ext cx="5726080" cy="740174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144000" rIns="252000" bIns="252000"/>
          <a:lstStyle>
            <a:lvl1pPr marL="0" indent="0" algn="ctr">
              <a:buNone/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nl-NL" noProof="0" dirty="0"/>
              <a:t>Met één ondertitel</a:t>
            </a:r>
          </a:p>
        </p:txBody>
      </p:sp>
      <p:sp>
        <p:nvSpPr>
          <p:cNvPr id="9" name="Tijdelijke aanduiding voor tekst 5"/>
          <p:cNvSpPr>
            <a:spLocks noGrp="1"/>
          </p:cNvSpPr>
          <p:nvPr>
            <p:ph type="body" sz="quarter" idx="14" hasCustomPrompt="1"/>
          </p:nvPr>
        </p:nvSpPr>
        <p:spPr>
          <a:xfrm>
            <a:off x="-2" y="6738257"/>
            <a:ext cx="12192001" cy="119743"/>
          </a:xfrm>
          <a:prstGeom prst="rect">
            <a:avLst/>
          </a:prstGeom>
          <a:solidFill>
            <a:schemeClr val="tx1">
              <a:alpha val="90000"/>
            </a:schemeClr>
          </a:solidFill>
        </p:spPr>
        <p:txBody>
          <a:bodyPr lIns="252000" tIns="252000" rIns="252000" bIns="252000"/>
          <a:lstStyle>
            <a:lvl1pPr marL="0" indent="0">
              <a:buNone/>
              <a:defRPr sz="1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nl-NL" noProof="0" dirty="0"/>
              <a:t>Onderkan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DDE307C1-B8FE-44F8-BA5F-6251BE5881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16000" y="822574"/>
            <a:ext cx="5726080" cy="735746"/>
          </a:xfrm>
          <a:solidFill>
            <a:schemeClr val="tx1">
              <a:alpha val="89804"/>
            </a:schemeClr>
          </a:solidFill>
        </p:spPr>
        <p:txBody>
          <a:bodyPr lIns="252000" tIns="252000" rIns="252000" bIns="252000" anchor="t" anchorCtr="0"/>
          <a:lstStyle>
            <a:lvl1pPr algn="ctr">
              <a:defRPr>
                <a:solidFill>
                  <a:srgbClr val="FFFFFF"/>
                </a:solidFill>
              </a:defRPr>
            </a:lvl1pPr>
          </a:lstStyle>
          <a:p>
            <a:r>
              <a:rPr lang="nl-NL" noProof="0" dirty="0"/>
              <a:t>Titel</a:t>
            </a:r>
          </a:p>
        </p:txBody>
      </p:sp>
    </p:spTree>
    <p:extLst>
      <p:ext uri="{BB962C8B-B14F-4D97-AF65-F5344CB8AC3E}">
        <p14:creationId xmlns:p14="http://schemas.microsoft.com/office/powerpoint/2010/main" val="60558795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/>
          <p:cNvSpPr>
            <a:spLocks noGrp="1"/>
          </p:cNvSpPr>
          <p:nvPr>
            <p:ph type="title"/>
          </p:nvPr>
        </p:nvSpPr>
        <p:spPr>
          <a:xfrm>
            <a:off x="0" y="162504"/>
            <a:ext cx="12192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nl-NL" noProof="0" dirty="0"/>
              <a:t>Witte achtergrond met teks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noProof="0" dirty="0"/>
              <a:t>Tekststijl van het model bewerken</a:t>
            </a:r>
          </a:p>
          <a:p>
            <a:pPr lvl="1"/>
            <a:r>
              <a:rPr lang="nl-NL" noProof="0" dirty="0"/>
              <a:t>Tweede niveau</a:t>
            </a:r>
          </a:p>
          <a:p>
            <a:pPr lvl="2"/>
            <a:r>
              <a:rPr lang="nl-NL" noProof="0" dirty="0"/>
              <a:t>Derde niveau</a:t>
            </a:r>
          </a:p>
          <a:p>
            <a:pPr lvl="3"/>
            <a:r>
              <a:rPr lang="nl-NL" noProof="0" dirty="0"/>
              <a:t>Vierde niveau</a:t>
            </a:r>
          </a:p>
          <a:p>
            <a:pPr lvl="4"/>
            <a:r>
              <a:rPr lang="nl-NL" noProof="0" dirty="0"/>
              <a:t>Vijfde niveau</a:t>
            </a:r>
          </a:p>
        </p:txBody>
      </p:sp>
      <p:sp>
        <p:nvSpPr>
          <p:cNvPr id="4" name="empower - DO NOT DELETE!!!" hidden="1"/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663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3D426FEA-BC03-429A-95E9-13C78B94716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5284B1E-F30D-4A29-A9E5-868C0EAB3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2735249"/>
            <a:ext cx="12192000" cy="1045711"/>
          </a:xfrm>
        </p:spPr>
        <p:txBody>
          <a:bodyPr/>
          <a:lstStyle/>
          <a:p>
            <a:r>
              <a:rPr lang="nl-NL" sz="2800" dirty="0"/>
              <a:t>Update [STICHTING + PROJECTNAAM]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74240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0BB09A6-D141-4704-8AC2-7AF6389C8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001" y="1599746"/>
            <a:ext cx="10715469" cy="4218709"/>
          </a:xfrm>
          <a:solidFill>
            <a:schemeClr val="bg1">
              <a:alpha val="90000"/>
            </a:schemeClr>
          </a:solidFill>
        </p:spPr>
        <p:txBody>
          <a:bodyPr/>
          <a:lstStyle/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Geef hier aan wat de voortgang is van het project in percentage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Geef een onderbouwing van wat er is gerealiseerd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Geef aan hoeveel kosten er reeds zijn gemaakt, welke bedragen jullie nog verwachten en of jullie op schema lopen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Geef aan of er eventuele risicofactoren zijn waar rekening mee gehouden dient te worden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Overige punten die belangrijk zijn om te melden</a:t>
            </a:r>
          </a:p>
          <a:p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11BC51C0-859B-4A6A-B4E5-6F5A84067D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56072B8-0D79-4CB2-B3B8-6BEDAB08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01" y="864000"/>
            <a:ext cx="10715468" cy="735746"/>
          </a:xfrm>
          <a:solidFill>
            <a:schemeClr val="bg1">
              <a:alpha val="89804"/>
            </a:schemeClr>
          </a:solidFill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</a:rPr>
              <a:t>Voortgang</a:t>
            </a:r>
          </a:p>
        </p:txBody>
      </p:sp>
    </p:spTree>
    <p:extLst>
      <p:ext uri="{BB962C8B-B14F-4D97-AF65-F5344CB8AC3E}">
        <p14:creationId xmlns:p14="http://schemas.microsoft.com/office/powerpoint/2010/main" val="29317541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0BB09A6-D141-4704-8AC2-7AF6389C8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001" y="1599746"/>
            <a:ext cx="10715469" cy="4218709"/>
          </a:xfrm>
          <a:solidFill>
            <a:schemeClr val="bg1">
              <a:alpha val="90000"/>
            </a:schemeClr>
          </a:solidFill>
        </p:spPr>
        <p:txBody>
          <a:bodyPr/>
          <a:lstStyle/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We ontvangen heel graag foto’s en / of videofragmenten. 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Het liefst in een zo hoog mogelijke resolutie en onbewerkt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Video opnames kunnen opgenomen worden met een smartphone wanneer deze horizontaal gebruikt wordt (liggend)</a:t>
            </a:r>
          </a:p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accent1"/>
                </a:solidFill>
              </a:rPr>
              <a:t>Beeldmateriaal wat te groot is om toe te voegen op de portal kan via </a:t>
            </a:r>
            <a:r>
              <a:rPr lang="nl-NL" dirty="0" err="1">
                <a:solidFill>
                  <a:schemeClr val="accent1"/>
                </a:solidFill>
              </a:rPr>
              <a:t>WeTransfer</a:t>
            </a:r>
            <a:r>
              <a:rPr lang="nl-NL" dirty="0">
                <a:solidFill>
                  <a:schemeClr val="accent1"/>
                </a:solidFill>
              </a:rPr>
              <a:t> worden verstuurd aan rsk@afas.nl</a:t>
            </a:r>
          </a:p>
          <a:p>
            <a:pPr marL="342900" indent="-342900">
              <a:buBlip>
                <a:blip r:embed="rId2"/>
              </a:buBlip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11BC51C0-859B-4A6A-B4E5-6F5A84067D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56072B8-0D79-4CB2-B3B8-6BEDAB08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01" y="864000"/>
            <a:ext cx="10715468" cy="735746"/>
          </a:xfrm>
          <a:solidFill>
            <a:schemeClr val="bg1">
              <a:alpha val="89804"/>
            </a:schemeClr>
          </a:solidFill>
        </p:spPr>
        <p:txBody>
          <a:bodyPr/>
          <a:lstStyle/>
          <a:p>
            <a:r>
              <a:rPr lang="nl-NL" dirty="0">
                <a:solidFill>
                  <a:schemeClr val="accent1"/>
                </a:solidFill>
              </a:rPr>
              <a:t>Beeldmateriaal</a:t>
            </a:r>
          </a:p>
        </p:txBody>
      </p:sp>
    </p:spTree>
    <p:extLst>
      <p:ext uri="{BB962C8B-B14F-4D97-AF65-F5344CB8AC3E}">
        <p14:creationId xmlns:p14="http://schemas.microsoft.com/office/powerpoint/2010/main" val="31645796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70BB09A6-D141-4704-8AC2-7AF6389C8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64001" y="1599746"/>
            <a:ext cx="10715469" cy="4218709"/>
          </a:xfrm>
          <a:solidFill>
            <a:schemeClr val="bg1">
              <a:alpha val="90000"/>
            </a:schemeClr>
          </a:solidFill>
        </p:spPr>
        <p:txBody>
          <a:bodyPr/>
          <a:lstStyle/>
          <a:p>
            <a:pPr marL="342900" indent="-342900">
              <a:buBlip>
                <a:blip r:embed="rId2"/>
              </a:buBlip>
            </a:pPr>
            <a:r>
              <a:rPr lang="nl-NL" dirty="0">
                <a:solidFill>
                  <a:schemeClr val="tx1"/>
                </a:solidFill>
              </a:rPr>
              <a:t>Verder laten we ons graag verrassen door jullie creativiteit voor dit voortgangsverslag. Wat willen jullie graag nog kwijt aan ons of welke punten willen jullie graag ter discussie stellen?</a:t>
            </a:r>
          </a:p>
          <a:p>
            <a:pPr marL="342900" indent="-342900">
              <a:buBlip>
                <a:blip r:embed="rId2"/>
              </a:buBlip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nl-NL" dirty="0"/>
          </a:p>
        </p:txBody>
      </p:sp>
      <p:sp>
        <p:nvSpPr>
          <p:cNvPr id="10" name="Tijdelijke aanduiding voor tekst 9">
            <a:extLst>
              <a:ext uri="{FF2B5EF4-FFF2-40B4-BE49-F238E27FC236}">
                <a16:creationId xmlns:a16="http://schemas.microsoft.com/office/drawing/2014/main" id="{11BC51C0-859B-4A6A-B4E5-6F5A84067D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D56072B8-0D79-4CB2-B3B8-6BEDAB084A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64001" y="864000"/>
            <a:ext cx="10715468" cy="735746"/>
          </a:xfrm>
          <a:solidFill>
            <a:schemeClr val="bg1">
              <a:alpha val="89804"/>
            </a:schemeClr>
          </a:solidFill>
        </p:spPr>
        <p:txBody>
          <a:bodyPr/>
          <a:lstStyle/>
          <a:p>
            <a:r>
              <a:rPr lang="nl-NL" dirty="0" err="1">
                <a:solidFill>
                  <a:schemeClr val="accent1"/>
                </a:solidFill>
              </a:rPr>
              <a:t>Overigen</a:t>
            </a:r>
            <a:endParaRPr lang="nl-NL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3342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FALLBACK_LAYOUT" val="7"/>
  <p:tag name="MIO_SHOW_DATE" val="False"/>
  <p:tag name="MIO_SHOW_FOOTER" val="False"/>
  <p:tag name="MIO_SHOW_PAGENUMBER" val="False"/>
  <p:tag name="MIO_AVOID_BLANK_LAYOUT" val="True"/>
  <p:tag name="MIO_CD_LAYOUT_VALID_AREA" val="False"/>
  <p:tag name="MIO_NUMBER_OF_VALID_LAYOUTS" val="20"/>
  <p:tag name="MIO_HDS" val="True"/>
  <p:tag name="MIO_SKIPVERSION" val="01.01.0001 00:00:00"/>
  <p:tag name="MIO_EKGUID" val="fa4a4e44-2d23-446a-923d-18d337122fb4"/>
  <p:tag name="MIO_UPDATE" val="True"/>
  <p:tag name="MIO_VERSION" val="09.02.2018 14:28:54"/>
  <p:tag name="MIO_DBID" val="18E52BEE-B231-4163-953F-624B7C4E5C82"/>
  <p:tag name="MIO_LASTDOWNLOADED" val="04.06.2018 10:52:02"/>
  <p:tag name="MIO_OBJECTNAME" val="AFAS Foundation Powerpoint 2018"/>
  <p:tag name="MIO_CDID" val="d30371fb-bd2b-4816-a0ce-bd6a1479ab6b"/>
</p:tagLst>
</file>

<file path=ppt/theme/theme1.xml><?xml version="1.0" encoding="utf-8"?>
<a:theme xmlns:a="http://schemas.openxmlformats.org/drawingml/2006/main" name="AFAS Software Powerpoint 2017">
  <a:themeElements>
    <a:clrScheme name="0. AFAS Foundation">
      <a:dk1>
        <a:srgbClr val="723B47"/>
      </a:dk1>
      <a:lt1>
        <a:sysClr val="window" lastClr="FFFFFF"/>
      </a:lt1>
      <a:dk2>
        <a:srgbClr val="38586C"/>
      </a:dk2>
      <a:lt2>
        <a:srgbClr val="FFFFFF"/>
      </a:lt2>
      <a:accent1>
        <a:srgbClr val="723B47"/>
      </a:accent1>
      <a:accent2>
        <a:srgbClr val="38586C"/>
      </a:accent2>
      <a:accent3>
        <a:srgbClr val="E29878"/>
      </a:accent3>
      <a:accent4>
        <a:srgbClr val="A2AD91"/>
      </a:accent4>
      <a:accent5>
        <a:srgbClr val="0060A9"/>
      </a:accent5>
      <a:accent6>
        <a:srgbClr val="FFFFFF"/>
      </a:accent6>
      <a:hlink>
        <a:srgbClr val="723B47"/>
      </a:hlink>
      <a:folHlink>
        <a:srgbClr val="E29878"/>
      </a:folHlink>
    </a:clrScheme>
    <a:fontScheme name="01 - AFAS STANDAARD">
      <a:majorFont>
        <a:latin typeface="Roboto Black"/>
        <a:ea typeface=""/>
        <a:cs typeface=""/>
      </a:majorFont>
      <a:minorFont>
        <a:latin typeface="Roboto Light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e3" id="{0B2983AF-BF60-4201-BD68-EE5AFC6CB06C}" vid="{072BC913-06C2-465E-9613-67F434275B2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0</TotalTime>
  <Words>161</Words>
  <Application>Microsoft Office PowerPoint</Application>
  <PresentationFormat>Breedbeeld</PresentationFormat>
  <Paragraphs>16</Paragraphs>
  <Slides>4</Slides>
  <Notes>0</Notes>
  <HiddenSlides>0</HiddenSlides>
  <MMClips>0</MMClips>
  <ScaleCrop>false</ScaleCrop>
  <HeadingPairs>
    <vt:vector size="6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Diatitels</vt:lpstr>
      </vt:variant>
      <vt:variant>
        <vt:i4>4</vt:i4>
      </vt:variant>
    </vt:vector>
  </HeadingPairs>
  <TitlesOfParts>
    <vt:vector size="8" baseType="lpstr">
      <vt:lpstr>Arial</vt:lpstr>
      <vt:lpstr>Roboto Black</vt:lpstr>
      <vt:lpstr>Roboto Light</vt:lpstr>
      <vt:lpstr>AFAS Software Powerpoint 2017</vt:lpstr>
      <vt:lpstr>Update [STICHTING + PROJECTNAAM]</vt:lpstr>
      <vt:lpstr>Voortgang</vt:lpstr>
      <vt:lpstr>Beeldmateriaal</vt:lpstr>
      <vt:lpstr>Overig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pdate [STICHTING + PROJECTNAAM] de achtergrond kan worden vervangen door een afbeelding van het project</dc:title>
  <dc:creator>Roos van der Spek</dc:creator>
  <cp:lastModifiedBy>Roos van der Spek</cp:lastModifiedBy>
  <cp:revision>7</cp:revision>
  <dcterms:created xsi:type="dcterms:W3CDTF">2018-07-24T12:37:19Z</dcterms:created>
  <dcterms:modified xsi:type="dcterms:W3CDTF">2019-06-13T07:53:46Z</dcterms:modified>
</cp:coreProperties>
</file>